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43" d="100"/>
          <a:sy n="143" d="100"/>
        </p:scale>
        <p:origin x="126" y="2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9A2924-7006-4426-8717-DB45125D75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A7C2CF0-4F07-4C46-BC99-60956E3DC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2810C7-0DAE-4157-9FC7-26CD85EF88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A9BA35-49D7-4F18-993E-DCE060DFC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F9751A-46DE-4D71-8897-5E6555B420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7170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DFE51E-5060-43AB-9EA0-425142FA6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38AD3D1-A0C4-4AA2-BAD0-5450C20F77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D17496-5AF5-4B87-8F85-C1914CF6E9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E6FF95-08C2-483C-9739-1156F36376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6A563C-975E-4015-BE1D-EE6FCDAEFE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1931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B737EF6-83F2-41A6-90DA-EF69B3F00CD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57D7ED2-15ED-40AF-9BA3-1CBEBCA00F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1500A6-D134-4051-9A38-6A01A94879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490B4A-99DF-4640-97AA-DB9A0AC3FC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DEAA00-871E-4374-B489-468277CAAA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3180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639F8B-A5D2-43CC-B49B-A4DE085947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8015A5-644A-46D9-A272-192CA8089A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7E402F-2B09-4505-8367-DD74B12DD0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C7B977-E450-45C1-8C35-D2A201AE1B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C3D9E9-EDE8-4CFF-917D-FBEE83770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0275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F7B303-2B50-4A6F-98AB-A826FD42D4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D50913-015F-4BCF-B063-AA620E72EC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52087E-E43F-4D37-A452-A3ADCB29A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5B2987-8E6D-45AD-9EDD-0407835B0E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DBCF34-861C-4D80-83CE-33001C2B58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72476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71E3E4-72BA-41B3-9881-7C837C0AE4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FFDEA6-244F-4476-8DC4-FC9BB53E67F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6EA9296-09BD-48AC-8BCC-3D85426DF9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6A4612-764E-4F94-ACD1-7787F29C38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92B10F-5A7C-4D0A-84F6-71D084C50F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EB3C5E-C200-45BE-8C87-D90A99D1A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50736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E19946-0707-40C7-A339-8C8C285DA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E1186B-91A4-4301-B625-B775E2475E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2CCEE4-5DF4-4681-9425-58DB9EA09D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9703378-2DDE-4390-8E69-AC133CCC0AB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21086C4-0A51-4F8B-B8B9-3EBA733DF7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634015E-31A4-47EF-8F61-B11A692F06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5765F7A-E28E-438B-9D44-E4408C7AE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A8F6D6A-4589-410F-9011-2BAA98C45D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0076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A630E7-BAE1-4F70-B562-8A41534AA6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CCE4A7-B1AE-4392-9ADD-114F8CE478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1559C2-6964-4E39-BF4E-E61AA13C75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B8999B-38F4-4C3A-B637-4AAB8A13F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9458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E2EA295-C32C-4FEE-B594-DB7F5DFCDB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E20C5-A595-4D04-B95C-598A534C9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21A989-0EA1-412E-903E-F333E4C3B6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4232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AC92F4-6779-4364-B2FE-8930604FA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A161BD-6288-4654-9E6C-531FBD9815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A38499F-5564-43B3-B7A5-3C77D334CFC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2B465A-1B2B-4600-A065-807CDFD51F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C3BEB1-77CD-4B81-9F71-C148D046C6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48D15C-E870-48D4-8930-C859C1926F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5208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330E6-0102-4437-898D-59937700C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CAAD560-DF19-43E0-8360-FF8E8EE068A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487C69-D1EB-495C-9CB7-76ABD6012F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89AC91-3E60-4DF9-9644-B57FB22D39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7A1DD6-CF99-41AA-9AA4-3CC6474FCF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0F6A74-C1FC-4743-87F4-06C95A7923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9770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C07E29F-AE09-4F73-825E-B560D4C7D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33703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408" imgH="408" progId="TCLayout.ActiveDocument.1">
                  <p:embed/>
                </p:oleObj>
              </mc:Choice>
              <mc:Fallback>
                <p:oleObj name="think-cell Slide" r:id="rId15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B202663-2769-4E16-BB7A-B95251FB62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322B4C-4A9C-4C3B-985F-94D9CE4CD3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CF54F6-0F96-4AD1-8FB6-2B3EF9C176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AE7D25-7E14-4CD0-BCF2-E3A55892D3E6}" type="datetimeFigureOut">
              <a:rPr lang="en-US" smtClean="0"/>
              <a:t>12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90BD26-39F4-457D-9F20-B9B86BE37C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1EAD23-B93B-4D55-BBA9-932A260CAF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4AB246-715D-4E1A-A51F-6C419F2F34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5030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&#65279;<?xml version="1.0" encoding="utf-8"?><Relationships xmlns="http://schemas.openxmlformats.org/package/2006/relationships"><Relationship Type="http://schemas.openxmlformats.org/officeDocument/2006/relationships/slideLayout" Target="../slideLayouts/slideLayout6.xml" Id="rId3" /><Relationship Type="http://schemas.openxmlformats.org/officeDocument/2006/relationships/tags" Target="../tags/tag3.xml" Id="rId2" /><Relationship Type="http://schemas.openxmlformats.org/officeDocument/2006/relationships/vmlDrawing" Target="../drawings/vmlDrawing2.vml" Id="rId1" /><Relationship Type="http://schemas.openxmlformats.org/officeDocument/2006/relationships/image" Target="../media/image1.emf" Id="rId5" /><Relationship Type="http://schemas.openxmlformats.org/officeDocument/2006/relationships/oleObject" Target="../embeddings/oleObject2.bin" Id="rId4" /><Relationship Type="http://schemas.openxmlformats.org/officeDocument/2006/relationships/image" Target="/ppt/media/image.png" Id="Rb1da039d9c12439f" /></Relationships>
</file>

<file path=ppt/slides/slide1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14="http://schemas.microsoft.com/office/drawing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865B1C-4D0C-48FC-8611-7AEFC96376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5348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55CDC79-ECD3-4F24-A004-B0F36FC59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irst Slide</a:t>
            </a:r>
          </a:p>
        </p:txBody>
      </p:sp>
      <p:pic>
        <p:nvPicPr>
          <p:cNvPr id="3" name="My Shape"/>
          <p:cNvPicPr>
            <a:picLocks noChangeAspect="1"/>
          </p:cNvPicPr>
          <p:nvPr/>
        </p:nvPicPr>
        <p:blipFill>
          <a:blip r:embed="Rb1da039d9c12439f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600000" cy="6400000"/>
          </a:xfrm>
          <a:prstGeom prst="rect"/>
        </p:spPr>
      </p:pic>
    </p:spTree>
    <p:extLst>
      <p:ext uri="{BB962C8B-B14F-4D97-AF65-F5344CB8AC3E}">
        <p14:creationId xmlns:p14="http://schemas.microsoft.com/office/powerpoint/2010/main" val="5736752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</Words>
  <Application>Microsoft Office PowerPoint</Application>
  <PresentationFormat>Widescreen</PresentationFormat>
  <Paragraphs>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First Slid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omas Barnekow</dc:creator>
  <cp:lastModifiedBy>Thomas Barnekow</cp:lastModifiedBy>
  <cp:revision>3</cp:revision>
  <dcterms:created xsi:type="dcterms:W3CDTF">2021-12-15T12:38:22Z</dcterms:created>
  <dcterms:modified xsi:type="dcterms:W3CDTF">2021-12-15T12:40:52Z</dcterms:modified>
</cp:coreProperties>
</file>